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5" r:id="rId5"/>
  </p:sldMasterIdLst>
  <p:sldIdLst>
    <p:sldId id="257" r:id="rId6"/>
    <p:sldId id="256" r:id="rId7"/>
    <p:sldId id="548" r:id="rId8"/>
    <p:sldId id="553" r:id="rId9"/>
    <p:sldId id="549" r:id="rId10"/>
    <p:sldId id="554" r:id="rId11"/>
    <p:sldId id="269" r:id="rId12"/>
  </p:sldIdLst>
  <p:sldSz cx="12192000" cy="6858000"/>
  <p:notesSz cx="6858000" cy="9144000"/>
  <p:defaultTextStyle>
    <a:defPPr>
      <a:defRPr lang="nl-NL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0AD2A51-16EF-4346-AA92-4F83DFF46C7E}" v="9" dt="2022-04-21T14:35:13.957"/>
    <p1510:client id="{5080E5A9-A819-BC2E-5F4C-79E153F09B07}" v="414" dt="2022-07-14T14:01:38.91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01" autoAdjust="0"/>
    <p:restoredTop sz="94660"/>
  </p:normalViewPr>
  <p:slideViewPr>
    <p:cSldViewPr snapToGrid="0">
      <p:cViewPr varScale="1">
        <p:scale>
          <a:sx n="69" d="100"/>
          <a:sy n="69" d="100"/>
        </p:scale>
        <p:origin x="488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ander Beissel" userId="7f761a91-e9fe-43d8-a8fe-0f72b5675661" providerId="ADAL" clId="{20AD2A51-16EF-4346-AA92-4F83DFF46C7E}"/>
    <pc:docChg chg="undo custSel addSld delSld modSld sldOrd">
      <pc:chgData name="Alexander Beissel" userId="7f761a91-e9fe-43d8-a8fe-0f72b5675661" providerId="ADAL" clId="{20AD2A51-16EF-4346-AA92-4F83DFF46C7E}" dt="2022-04-25T06:52:15.467" v="2069" actId="20577"/>
      <pc:docMkLst>
        <pc:docMk/>
      </pc:docMkLst>
      <pc:sldChg chg="modSp mod">
        <pc:chgData name="Alexander Beissel" userId="7f761a91-e9fe-43d8-a8fe-0f72b5675661" providerId="ADAL" clId="{20AD2A51-16EF-4346-AA92-4F83DFF46C7E}" dt="2022-04-25T06:50:39.179" v="1988" actId="20577"/>
        <pc:sldMkLst>
          <pc:docMk/>
          <pc:sldMk cId="1534853746" sldId="256"/>
        </pc:sldMkLst>
        <pc:spChg chg="mod">
          <ac:chgData name="Alexander Beissel" userId="7f761a91-e9fe-43d8-a8fe-0f72b5675661" providerId="ADAL" clId="{20AD2A51-16EF-4346-AA92-4F83DFF46C7E}" dt="2022-04-25T06:50:35.098" v="1984" actId="20577"/>
          <ac:spMkLst>
            <pc:docMk/>
            <pc:sldMk cId="1534853746" sldId="256"/>
            <ac:spMk id="2" creationId="{04E2F5CE-B60C-4FF4-B015-C0DC1B2FE661}"/>
          </ac:spMkLst>
        </pc:spChg>
        <pc:spChg chg="mod">
          <ac:chgData name="Alexander Beissel" userId="7f761a91-e9fe-43d8-a8fe-0f72b5675661" providerId="ADAL" clId="{20AD2A51-16EF-4346-AA92-4F83DFF46C7E}" dt="2022-04-25T06:50:39.179" v="1988" actId="20577"/>
          <ac:spMkLst>
            <pc:docMk/>
            <pc:sldMk cId="1534853746" sldId="256"/>
            <ac:spMk id="3" creationId="{D4662AD7-B021-4EE6-A103-75FEF4E68589}"/>
          </ac:spMkLst>
        </pc:spChg>
      </pc:sldChg>
      <pc:sldChg chg="modSp add del mod">
        <pc:chgData name="Alexander Beissel" userId="7f761a91-e9fe-43d8-a8fe-0f72b5675661" providerId="ADAL" clId="{20AD2A51-16EF-4346-AA92-4F83DFF46C7E}" dt="2022-04-19T13:30:14.722" v="704" actId="20577"/>
        <pc:sldMkLst>
          <pc:docMk/>
          <pc:sldMk cId="3412142468" sldId="269"/>
        </pc:sldMkLst>
        <pc:spChg chg="mod">
          <ac:chgData name="Alexander Beissel" userId="7f761a91-e9fe-43d8-a8fe-0f72b5675661" providerId="ADAL" clId="{20AD2A51-16EF-4346-AA92-4F83DFF46C7E}" dt="2022-04-19T13:30:14.722" v="704" actId="20577"/>
          <ac:spMkLst>
            <pc:docMk/>
            <pc:sldMk cId="3412142468" sldId="269"/>
            <ac:spMk id="3" creationId="{84C5981A-FCDD-477D-8F05-28CFE4882260}"/>
          </ac:spMkLst>
        </pc:spChg>
      </pc:sldChg>
      <pc:sldChg chg="addSp delSp modSp new del mod modClrScheme chgLayout">
        <pc:chgData name="Alexander Beissel" userId="7f761a91-e9fe-43d8-a8fe-0f72b5675661" providerId="ADAL" clId="{20AD2A51-16EF-4346-AA92-4F83DFF46C7E}" dt="2022-04-25T06:51:55.803" v="2062" actId="47"/>
        <pc:sldMkLst>
          <pc:docMk/>
          <pc:sldMk cId="2340743589" sldId="270"/>
        </pc:sldMkLst>
        <pc:spChg chg="mod ord">
          <ac:chgData name="Alexander Beissel" userId="7f761a91-e9fe-43d8-a8fe-0f72b5675661" providerId="ADAL" clId="{20AD2A51-16EF-4346-AA92-4F83DFF46C7E}" dt="2022-04-21T14:32:51.900" v="1418" actId="20577"/>
          <ac:spMkLst>
            <pc:docMk/>
            <pc:sldMk cId="2340743589" sldId="270"/>
            <ac:spMk id="2" creationId="{30E7ADD6-30A9-4C7D-9A71-5894BFB944CD}"/>
          </ac:spMkLst>
        </pc:spChg>
        <pc:spChg chg="del mod ord">
          <ac:chgData name="Alexander Beissel" userId="7f761a91-e9fe-43d8-a8fe-0f72b5675661" providerId="ADAL" clId="{20AD2A51-16EF-4346-AA92-4F83DFF46C7E}" dt="2022-04-19T13:19:48.273" v="64" actId="700"/>
          <ac:spMkLst>
            <pc:docMk/>
            <pc:sldMk cId="2340743589" sldId="270"/>
            <ac:spMk id="3" creationId="{32B12825-D2EB-4C56-9825-FF138617230B}"/>
          </ac:spMkLst>
        </pc:spChg>
        <pc:spChg chg="del mod ord">
          <ac:chgData name="Alexander Beissel" userId="7f761a91-e9fe-43d8-a8fe-0f72b5675661" providerId="ADAL" clId="{20AD2A51-16EF-4346-AA92-4F83DFF46C7E}" dt="2022-04-19T13:19:48.273" v="64" actId="700"/>
          <ac:spMkLst>
            <pc:docMk/>
            <pc:sldMk cId="2340743589" sldId="270"/>
            <ac:spMk id="4" creationId="{968FCD2B-DCAD-4F2C-814E-EBC342AADC4D}"/>
          </ac:spMkLst>
        </pc:spChg>
        <pc:spChg chg="del mod ord">
          <ac:chgData name="Alexander Beissel" userId="7f761a91-e9fe-43d8-a8fe-0f72b5675661" providerId="ADAL" clId="{20AD2A51-16EF-4346-AA92-4F83DFF46C7E}" dt="2022-04-19T13:19:48.273" v="64" actId="700"/>
          <ac:spMkLst>
            <pc:docMk/>
            <pc:sldMk cId="2340743589" sldId="270"/>
            <ac:spMk id="5" creationId="{BCF5FABC-C703-4A70-B776-F60147186B43}"/>
          </ac:spMkLst>
        </pc:spChg>
        <pc:spChg chg="mod ord">
          <ac:chgData name="Alexander Beissel" userId="7f761a91-e9fe-43d8-a8fe-0f72b5675661" providerId="ADAL" clId="{20AD2A51-16EF-4346-AA92-4F83DFF46C7E}" dt="2022-04-19T13:19:48.273" v="64" actId="700"/>
          <ac:spMkLst>
            <pc:docMk/>
            <pc:sldMk cId="2340743589" sldId="270"/>
            <ac:spMk id="6" creationId="{756E597D-1087-4A7F-A0AE-C095C99495BA}"/>
          </ac:spMkLst>
        </pc:spChg>
        <pc:spChg chg="add del mod ord">
          <ac:chgData name="Alexander Beissel" userId="7f761a91-e9fe-43d8-a8fe-0f72b5675661" providerId="ADAL" clId="{20AD2A51-16EF-4346-AA92-4F83DFF46C7E}" dt="2022-04-19T13:22:03.487" v="113" actId="478"/>
          <ac:spMkLst>
            <pc:docMk/>
            <pc:sldMk cId="2340743589" sldId="270"/>
            <ac:spMk id="7" creationId="{0B2AB1D0-175D-4F84-916B-1053E851DFE4}"/>
          </ac:spMkLst>
        </pc:spChg>
        <pc:spChg chg="add del mod ord">
          <ac:chgData name="Alexander Beissel" userId="7f761a91-e9fe-43d8-a8fe-0f72b5675661" providerId="ADAL" clId="{20AD2A51-16EF-4346-AA92-4F83DFF46C7E}" dt="2022-04-19T13:20:16.686" v="76" actId="478"/>
          <ac:spMkLst>
            <pc:docMk/>
            <pc:sldMk cId="2340743589" sldId="270"/>
            <ac:spMk id="8" creationId="{FDB19274-02CE-4A3C-93C5-A491A4BE021B}"/>
          </ac:spMkLst>
        </pc:spChg>
        <pc:spChg chg="add mod ord">
          <ac:chgData name="Alexander Beissel" userId="7f761a91-e9fe-43d8-a8fe-0f72b5675661" providerId="ADAL" clId="{20AD2A51-16EF-4346-AA92-4F83DFF46C7E}" dt="2022-04-21T14:35:13.954" v="1887" actId="20577"/>
          <ac:spMkLst>
            <pc:docMk/>
            <pc:sldMk cId="2340743589" sldId="270"/>
            <ac:spMk id="9" creationId="{443C20C9-A947-47E3-A174-E5851AA9E32F}"/>
          </ac:spMkLst>
        </pc:spChg>
        <pc:spChg chg="add del mod ord">
          <ac:chgData name="Alexander Beissel" userId="7f761a91-e9fe-43d8-a8fe-0f72b5675661" providerId="ADAL" clId="{20AD2A51-16EF-4346-AA92-4F83DFF46C7E}" dt="2022-04-19T13:20:17.325" v="77" actId="478"/>
          <ac:spMkLst>
            <pc:docMk/>
            <pc:sldMk cId="2340743589" sldId="270"/>
            <ac:spMk id="10" creationId="{C7421B3A-7072-489D-BF67-CC01954F30C2}"/>
          </ac:spMkLst>
        </pc:spChg>
      </pc:sldChg>
      <pc:sldChg chg="modSp new mod">
        <pc:chgData name="Alexander Beissel" userId="7f761a91-e9fe-43d8-a8fe-0f72b5675661" providerId="ADAL" clId="{20AD2A51-16EF-4346-AA92-4F83DFF46C7E}" dt="2022-04-25T06:52:15.467" v="2069" actId="20577"/>
        <pc:sldMkLst>
          <pc:docMk/>
          <pc:sldMk cId="742850561" sldId="271"/>
        </pc:sldMkLst>
        <pc:spChg chg="mod">
          <ac:chgData name="Alexander Beissel" userId="7f761a91-e9fe-43d8-a8fe-0f72b5675661" providerId="ADAL" clId="{20AD2A51-16EF-4346-AA92-4F83DFF46C7E}" dt="2022-04-21T14:35:26.364" v="1910" actId="20577"/>
          <ac:spMkLst>
            <pc:docMk/>
            <pc:sldMk cId="742850561" sldId="271"/>
            <ac:spMk id="2" creationId="{A9893BCC-8587-47A2-BA3B-57A871127D78}"/>
          </ac:spMkLst>
        </pc:spChg>
        <pc:spChg chg="mod">
          <ac:chgData name="Alexander Beissel" userId="7f761a91-e9fe-43d8-a8fe-0f72b5675661" providerId="ADAL" clId="{20AD2A51-16EF-4346-AA92-4F83DFF46C7E}" dt="2022-04-21T14:35:40.189" v="1936" actId="20577"/>
          <ac:spMkLst>
            <pc:docMk/>
            <pc:sldMk cId="742850561" sldId="271"/>
            <ac:spMk id="3" creationId="{CC9BB1A7-20DE-4EDA-A10A-DD90A265B403}"/>
          </ac:spMkLst>
        </pc:spChg>
        <pc:spChg chg="mod">
          <ac:chgData name="Alexander Beissel" userId="7f761a91-e9fe-43d8-a8fe-0f72b5675661" providerId="ADAL" clId="{20AD2A51-16EF-4346-AA92-4F83DFF46C7E}" dt="2022-04-25T06:52:15.467" v="2069" actId="20577"/>
          <ac:spMkLst>
            <pc:docMk/>
            <pc:sldMk cId="742850561" sldId="271"/>
            <ac:spMk id="4" creationId="{7C1C20A1-2C06-4C74-9E05-8378543E9DED}"/>
          </ac:spMkLst>
        </pc:spChg>
      </pc:sldChg>
      <pc:sldChg chg="delSp modSp add del mod">
        <pc:chgData name="Alexander Beissel" userId="7f761a91-e9fe-43d8-a8fe-0f72b5675661" providerId="ADAL" clId="{20AD2A51-16EF-4346-AA92-4F83DFF46C7E}" dt="2022-04-21T14:28:07.641" v="1084" actId="47"/>
        <pc:sldMkLst>
          <pc:docMk/>
          <pc:sldMk cId="823502061" sldId="271"/>
        </pc:sldMkLst>
        <pc:spChg chg="mod">
          <ac:chgData name="Alexander Beissel" userId="7f761a91-e9fe-43d8-a8fe-0f72b5675661" providerId="ADAL" clId="{20AD2A51-16EF-4346-AA92-4F83DFF46C7E}" dt="2022-04-19T13:21:53.046" v="112" actId="1076"/>
          <ac:spMkLst>
            <pc:docMk/>
            <pc:sldMk cId="823502061" sldId="271"/>
            <ac:spMk id="2" creationId="{30E7ADD6-30A9-4C7D-9A71-5894BFB944CD}"/>
          </ac:spMkLst>
        </pc:spChg>
        <pc:spChg chg="del">
          <ac:chgData name="Alexander Beissel" userId="7f761a91-e9fe-43d8-a8fe-0f72b5675661" providerId="ADAL" clId="{20AD2A51-16EF-4346-AA92-4F83DFF46C7E}" dt="2022-04-19T13:21:48.205" v="111" actId="478"/>
          <ac:spMkLst>
            <pc:docMk/>
            <pc:sldMk cId="823502061" sldId="271"/>
            <ac:spMk id="7" creationId="{0B2AB1D0-175D-4F84-916B-1053E851DFE4}"/>
          </ac:spMkLst>
        </pc:spChg>
        <pc:spChg chg="mod">
          <ac:chgData name="Alexander Beissel" userId="7f761a91-e9fe-43d8-a8fe-0f72b5675661" providerId="ADAL" clId="{20AD2A51-16EF-4346-AA92-4F83DFF46C7E}" dt="2022-04-19T13:36:52.657" v="735" actId="20577"/>
          <ac:spMkLst>
            <pc:docMk/>
            <pc:sldMk cId="823502061" sldId="271"/>
            <ac:spMk id="9" creationId="{443C20C9-A947-47E3-A174-E5851AA9E32F}"/>
          </ac:spMkLst>
        </pc:spChg>
      </pc:sldChg>
      <pc:sldChg chg="addSp delSp modSp new del mod">
        <pc:chgData name="Alexander Beissel" userId="7f761a91-e9fe-43d8-a8fe-0f72b5675661" providerId="ADAL" clId="{20AD2A51-16EF-4346-AA92-4F83DFF46C7E}" dt="2022-04-21T14:28:08.570" v="1085" actId="47"/>
        <pc:sldMkLst>
          <pc:docMk/>
          <pc:sldMk cId="1382344874" sldId="272"/>
        </pc:sldMkLst>
        <pc:spChg chg="mod">
          <ac:chgData name="Alexander Beissel" userId="7f761a91-e9fe-43d8-a8fe-0f72b5675661" providerId="ADAL" clId="{20AD2A51-16EF-4346-AA92-4F83DFF46C7E}" dt="2022-04-19T13:25:49.779" v="317"/>
          <ac:spMkLst>
            <pc:docMk/>
            <pc:sldMk cId="1382344874" sldId="272"/>
            <ac:spMk id="2" creationId="{DC537548-D614-4507-8AD3-E7D4455896A7}"/>
          </ac:spMkLst>
        </pc:spChg>
        <pc:spChg chg="del">
          <ac:chgData name="Alexander Beissel" userId="7f761a91-e9fe-43d8-a8fe-0f72b5675661" providerId="ADAL" clId="{20AD2A51-16EF-4346-AA92-4F83DFF46C7E}" dt="2022-04-19T13:25:55.103" v="320" actId="478"/>
          <ac:spMkLst>
            <pc:docMk/>
            <pc:sldMk cId="1382344874" sldId="272"/>
            <ac:spMk id="3" creationId="{3392DE05-E991-45BC-8F28-09155E8A25A2}"/>
          </ac:spMkLst>
        </pc:spChg>
        <pc:spChg chg="mod">
          <ac:chgData name="Alexander Beissel" userId="7f761a91-e9fe-43d8-a8fe-0f72b5675661" providerId="ADAL" clId="{20AD2A51-16EF-4346-AA92-4F83DFF46C7E}" dt="2022-04-19T13:26:14.448" v="336" actId="20577"/>
          <ac:spMkLst>
            <pc:docMk/>
            <pc:sldMk cId="1382344874" sldId="272"/>
            <ac:spMk id="4" creationId="{1E071B56-7AEE-4F53-A079-FE7B77F221FC}"/>
          </ac:spMkLst>
        </pc:spChg>
        <pc:spChg chg="del">
          <ac:chgData name="Alexander Beissel" userId="7f761a91-e9fe-43d8-a8fe-0f72b5675661" providerId="ADAL" clId="{20AD2A51-16EF-4346-AA92-4F83DFF46C7E}" dt="2022-04-19T13:26:17.071" v="338" actId="478"/>
          <ac:spMkLst>
            <pc:docMk/>
            <pc:sldMk cId="1382344874" sldId="272"/>
            <ac:spMk id="6" creationId="{8ED64B9C-B08F-45DC-9190-41F4A0DDFABB}"/>
          </ac:spMkLst>
        </pc:spChg>
        <pc:spChg chg="del">
          <ac:chgData name="Alexander Beissel" userId="7f761a91-e9fe-43d8-a8fe-0f72b5675661" providerId="ADAL" clId="{20AD2A51-16EF-4346-AA92-4F83DFF46C7E}" dt="2022-04-19T13:26:16.222" v="337" actId="478"/>
          <ac:spMkLst>
            <pc:docMk/>
            <pc:sldMk cId="1382344874" sldId="272"/>
            <ac:spMk id="7" creationId="{64E49C37-DC11-4A3E-BEFC-7DA5559FBF2A}"/>
          </ac:spMkLst>
        </pc:spChg>
        <pc:spChg chg="add del mod">
          <ac:chgData name="Alexander Beissel" userId="7f761a91-e9fe-43d8-a8fe-0f72b5675661" providerId="ADAL" clId="{20AD2A51-16EF-4346-AA92-4F83DFF46C7E}" dt="2022-04-19T13:25:53.087" v="319" actId="478"/>
          <ac:spMkLst>
            <pc:docMk/>
            <pc:sldMk cId="1382344874" sldId="272"/>
            <ac:spMk id="9" creationId="{82315EB8-7E3F-4C02-86C7-CC2D2B5680A0}"/>
          </ac:spMkLst>
        </pc:spChg>
      </pc:sldChg>
      <pc:sldChg chg="delSp modSp new del mod">
        <pc:chgData name="Alexander Beissel" userId="7f761a91-e9fe-43d8-a8fe-0f72b5675661" providerId="ADAL" clId="{20AD2A51-16EF-4346-AA92-4F83DFF46C7E}" dt="2022-04-21T14:28:09.156" v="1086" actId="47"/>
        <pc:sldMkLst>
          <pc:docMk/>
          <pc:sldMk cId="2088387938" sldId="273"/>
        </pc:sldMkLst>
        <pc:spChg chg="mod">
          <ac:chgData name="Alexander Beissel" userId="7f761a91-e9fe-43d8-a8fe-0f72b5675661" providerId="ADAL" clId="{20AD2A51-16EF-4346-AA92-4F83DFF46C7E}" dt="2022-04-19T13:26:32.223" v="373" actId="20577"/>
          <ac:spMkLst>
            <pc:docMk/>
            <pc:sldMk cId="2088387938" sldId="273"/>
            <ac:spMk id="2" creationId="{D2134584-B36D-40F1-BF1F-E4CA3141ED05}"/>
          </ac:spMkLst>
        </pc:spChg>
        <pc:spChg chg="del">
          <ac:chgData name="Alexander Beissel" userId="7f761a91-e9fe-43d8-a8fe-0f72b5675661" providerId="ADAL" clId="{20AD2A51-16EF-4346-AA92-4F83DFF46C7E}" dt="2022-04-19T13:26:34.782" v="374" actId="478"/>
          <ac:spMkLst>
            <pc:docMk/>
            <pc:sldMk cId="2088387938" sldId="273"/>
            <ac:spMk id="3" creationId="{76A6CE0F-74F9-4DF3-B6E4-B06C1626203C}"/>
          </ac:spMkLst>
        </pc:spChg>
        <pc:spChg chg="mod">
          <ac:chgData name="Alexander Beissel" userId="7f761a91-e9fe-43d8-a8fe-0f72b5675661" providerId="ADAL" clId="{20AD2A51-16EF-4346-AA92-4F83DFF46C7E}" dt="2022-04-19T13:26:56.177" v="382" actId="20577"/>
          <ac:spMkLst>
            <pc:docMk/>
            <pc:sldMk cId="2088387938" sldId="273"/>
            <ac:spMk id="4" creationId="{040B7082-DB47-44E0-A034-BDE82056F49E}"/>
          </ac:spMkLst>
        </pc:spChg>
        <pc:spChg chg="del">
          <ac:chgData name="Alexander Beissel" userId="7f761a91-e9fe-43d8-a8fe-0f72b5675661" providerId="ADAL" clId="{20AD2A51-16EF-4346-AA92-4F83DFF46C7E}" dt="2022-04-19T13:30:01.583" v="693" actId="478"/>
          <ac:spMkLst>
            <pc:docMk/>
            <pc:sldMk cId="2088387938" sldId="273"/>
            <ac:spMk id="6" creationId="{BB33FC8E-1E6B-409B-A3C1-BAA4E1CDA15D}"/>
          </ac:spMkLst>
        </pc:spChg>
        <pc:spChg chg="del">
          <ac:chgData name="Alexander Beissel" userId="7f761a91-e9fe-43d8-a8fe-0f72b5675661" providerId="ADAL" clId="{20AD2A51-16EF-4346-AA92-4F83DFF46C7E}" dt="2022-04-19T13:30:01.151" v="692" actId="478"/>
          <ac:spMkLst>
            <pc:docMk/>
            <pc:sldMk cId="2088387938" sldId="273"/>
            <ac:spMk id="7" creationId="{C6ECEE73-1B32-4FC4-9A83-5BD44D0FD7FD}"/>
          </ac:spMkLst>
        </pc:spChg>
      </pc:sldChg>
      <pc:sldChg chg="delSp modSp new del mod">
        <pc:chgData name="Alexander Beissel" userId="7f761a91-e9fe-43d8-a8fe-0f72b5675661" providerId="ADAL" clId="{20AD2A51-16EF-4346-AA92-4F83DFF46C7E}" dt="2022-04-21T14:28:10.214" v="1087" actId="47"/>
        <pc:sldMkLst>
          <pc:docMk/>
          <pc:sldMk cId="386646088" sldId="274"/>
        </pc:sldMkLst>
        <pc:spChg chg="mod">
          <ac:chgData name="Alexander Beissel" userId="7f761a91-e9fe-43d8-a8fe-0f72b5675661" providerId="ADAL" clId="{20AD2A51-16EF-4346-AA92-4F83DFF46C7E}" dt="2022-04-19T13:27:07.342" v="388" actId="20577"/>
          <ac:spMkLst>
            <pc:docMk/>
            <pc:sldMk cId="386646088" sldId="274"/>
            <ac:spMk id="2" creationId="{5B1AA473-6FA0-4772-B1BD-601D52BED8AB}"/>
          </ac:spMkLst>
        </pc:spChg>
        <pc:spChg chg="del">
          <ac:chgData name="Alexander Beissel" userId="7f761a91-e9fe-43d8-a8fe-0f72b5675661" providerId="ADAL" clId="{20AD2A51-16EF-4346-AA92-4F83DFF46C7E}" dt="2022-04-19T13:27:12.334" v="389" actId="478"/>
          <ac:spMkLst>
            <pc:docMk/>
            <pc:sldMk cId="386646088" sldId="274"/>
            <ac:spMk id="3" creationId="{69620CEE-EDFC-493F-8C02-49E8F9FE0482}"/>
          </ac:spMkLst>
        </pc:spChg>
        <pc:spChg chg="mod">
          <ac:chgData name="Alexander Beissel" userId="7f761a91-e9fe-43d8-a8fe-0f72b5675661" providerId="ADAL" clId="{20AD2A51-16EF-4346-AA92-4F83DFF46C7E}" dt="2022-04-19T13:28:52.943" v="647" actId="20577"/>
          <ac:spMkLst>
            <pc:docMk/>
            <pc:sldMk cId="386646088" sldId="274"/>
            <ac:spMk id="4" creationId="{C0E8058E-E6F0-47F2-831C-754C61D997A5}"/>
          </ac:spMkLst>
        </pc:spChg>
        <pc:spChg chg="del">
          <ac:chgData name="Alexander Beissel" userId="7f761a91-e9fe-43d8-a8fe-0f72b5675661" providerId="ADAL" clId="{20AD2A51-16EF-4346-AA92-4F83DFF46C7E}" dt="2022-04-19T13:29:55.840" v="691" actId="478"/>
          <ac:spMkLst>
            <pc:docMk/>
            <pc:sldMk cId="386646088" sldId="274"/>
            <ac:spMk id="6" creationId="{4A824151-FAB5-44C3-8FC1-5837F81C846C}"/>
          </ac:spMkLst>
        </pc:spChg>
        <pc:spChg chg="del">
          <ac:chgData name="Alexander Beissel" userId="7f761a91-e9fe-43d8-a8fe-0f72b5675661" providerId="ADAL" clId="{20AD2A51-16EF-4346-AA92-4F83DFF46C7E}" dt="2022-04-19T13:29:54.542" v="690" actId="478"/>
          <ac:spMkLst>
            <pc:docMk/>
            <pc:sldMk cId="386646088" sldId="274"/>
            <ac:spMk id="7" creationId="{D6E65EA9-BE09-48E3-8AD0-6CA400F9E19B}"/>
          </ac:spMkLst>
        </pc:spChg>
      </pc:sldChg>
      <pc:sldChg chg="delSp modSp new del mod">
        <pc:chgData name="Alexander Beissel" userId="7f761a91-e9fe-43d8-a8fe-0f72b5675661" providerId="ADAL" clId="{20AD2A51-16EF-4346-AA92-4F83DFF46C7E}" dt="2022-04-21T14:28:11.185" v="1088" actId="47"/>
        <pc:sldMkLst>
          <pc:docMk/>
          <pc:sldMk cId="1050706013" sldId="275"/>
        </pc:sldMkLst>
        <pc:spChg chg="mod">
          <ac:chgData name="Alexander Beissel" userId="7f761a91-e9fe-43d8-a8fe-0f72b5675661" providerId="ADAL" clId="{20AD2A51-16EF-4346-AA92-4F83DFF46C7E}" dt="2022-04-19T13:29:07.615" v="664" actId="20577"/>
          <ac:spMkLst>
            <pc:docMk/>
            <pc:sldMk cId="1050706013" sldId="275"/>
            <ac:spMk id="2" creationId="{F043AA59-7DC1-4BBF-97B2-21FD18A62F83}"/>
          </ac:spMkLst>
        </pc:spChg>
        <pc:spChg chg="del">
          <ac:chgData name="Alexander Beissel" userId="7f761a91-e9fe-43d8-a8fe-0f72b5675661" providerId="ADAL" clId="{20AD2A51-16EF-4346-AA92-4F83DFF46C7E}" dt="2022-04-19T13:29:10.751" v="665" actId="478"/>
          <ac:spMkLst>
            <pc:docMk/>
            <pc:sldMk cId="1050706013" sldId="275"/>
            <ac:spMk id="3" creationId="{B5582C05-2EF7-4796-BD00-D4BD46F61D78}"/>
          </ac:spMkLst>
        </pc:spChg>
        <pc:spChg chg="mod">
          <ac:chgData name="Alexander Beissel" userId="7f761a91-e9fe-43d8-a8fe-0f72b5675661" providerId="ADAL" clId="{20AD2A51-16EF-4346-AA92-4F83DFF46C7E}" dt="2022-04-19T13:29:28.673" v="687" actId="20577"/>
          <ac:spMkLst>
            <pc:docMk/>
            <pc:sldMk cId="1050706013" sldId="275"/>
            <ac:spMk id="4" creationId="{B8192921-B084-4E48-8CD2-DA3CD9ABCF5D}"/>
          </ac:spMkLst>
        </pc:spChg>
        <pc:spChg chg="del">
          <ac:chgData name="Alexander Beissel" userId="7f761a91-e9fe-43d8-a8fe-0f72b5675661" providerId="ADAL" clId="{20AD2A51-16EF-4346-AA92-4F83DFF46C7E}" dt="2022-04-19T13:29:37.359" v="689" actId="478"/>
          <ac:spMkLst>
            <pc:docMk/>
            <pc:sldMk cId="1050706013" sldId="275"/>
            <ac:spMk id="6" creationId="{EABC7D54-6CC9-45BA-8A86-65670295C2AA}"/>
          </ac:spMkLst>
        </pc:spChg>
        <pc:spChg chg="del">
          <ac:chgData name="Alexander Beissel" userId="7f761a91-e9fe-43d8-a8fe-0f72b5675661" providerId="ADAL" clId="{20AD2A51-16EF-4346-AA92-4F83DFF46C7E}" dt="2022-04-19T13:29:35.887" v="688" actId="478"/>
          <ac:spMkLst>
            <pc:docMk/>
            <pc:sldMk cId="1050706013" sldId="275"/>
            <ac:spMk id="7" creationId="{CBAA5495-681D-4A49-B501-37FDEE931B07}"/>
          </ac:spMkLst>
        </pc:spChg>
      </pc:sldChg>
      <pc:sldChg chg="del">
        <pc:chgData name="Alexander Beissel" userId="7f761a91-e9fe-43d8-a8fe-0f72b5675661" providerId="ADAL" clId="{20AD2A51-16EF-4346-AA92-4F83DFF46C7E}" dt="2022-04-19T13:18:59.095" v="44" actId="47"/>
        <pc:sldMkLst>
          <pc:docMk/>
          <pc:sldMk cId="2206161147" sldId="283"/>
        </pc:sldMkLst>
      </pc:sldChg>
      <pc:sldChg chg="del">
        <pc:chgData name="Alexander Beissel" userId="7f761a91-e9fe-43d8-a8fe-0f72b5675661" providerId="ADAL" clId="{20AD2A51-16EF-4346-AA92-4F83DFF46C7E}" dt="2022-04-19T13:19:02.403" v="47" actId="47"/>
        <pc:sldMkLst>
          <pc:docMk/>
          <pc:sldMk cId="1426205775" sldId="284"/>
        </pc:sldMkLst>
      </pc:sldChg>
      <pc:sldChg chg="modSp add mod ord">
        <pc:chgData name="Alexander Beissel" userId="7f761a91-e9fe-43d8-a8fe-0f72b5675661" providerId="ADAL" clId="{20AD2A51-16EF-4346-AA92-4F83DFF46C7E}" dt="2022-04-25T06:51:45.387" v="2061" actId="20577"/>
        <pc:sldMkLst>
          <pc:docMk/>
          <pc:sldMk cId="3511378347" sldId="548"/>
        </pc:sldMkLst>
        <pc:graphicFrameChg chg="mod modGraphic">
          <ac:chgData name="Alexander Beissel" userId="7f761a91-e9fe-43d8-a8fe-0f72b5675661" providerId="ADAL" clId="{20AD2A51-16EF-4346-AA92-4F83DFF46C7E}" dt="2022-04-25T06:51:45.387" v="2061" actId="20577"/>
          <ac:graphicFrameMkLst>
            <pc:docMk/>
            <pc:sldMk cId="3511378347" sldId="548"/>
            <ac:graphicFrameMk id="8" creationId="{00000000-0000-0000-0000-000000000000}"/>
          </ac:graphicFrameMkLst>
        </pc:graphicFrameChg>
      </pc:sldChg>
    </pc:docChg>
  </pc:docChgLst>
  <pc:docChgLst>
    <pc:chgData name="Alexander Beissel" userId="S::alexander@yakha.de::7f761a91-e9fe-43d8-a8fe-0f72b5675661" providerId="AD" clId="Web-{5080E5A9-A819-BC2E-5F4C-79E153F09B07}"/>
    <pc:docChg chg="delSld modSld">
      <pc:chgData name="Alexander Beissel" userId="S::alexander@yakha.de::7f761a91-e9fe-43d8-a8fe-0f72b5675661" providerId="AD" clId="Web-{5080E5A9-A819-BC2E-5F4C-79E153F09B07}" dt="2022-07-14T14:01:38.918" v="387"/>
      <pc:docMkLst>
        <pc:docMk/>
      </pc:docMkLst>
      <pc:sldChg chg="delSp modSp">
        <pc:chgData name="Alexander Beissel" userId="S::alexander@yakha.de::7f761a91-e9fe-43d8-a8fe-0f72b5675661" providerId="AD" clId="Web-{5080E5A9-A819-BC2E-5F4C-79E153F09B07}" dt="2022-07-14T14:01:38.918" v="387"/>
        <pc:sldMkLst>
          <pc:docMk/>
          <pc:sldMk cId="1534853746" sldId="256"/>
        </pc:sldMkLst>
        <pc:spChg chg="mod">
          <ac:chgData name="Alexander Beissel" userId="S::alexander@yakha.de::7f761a91-e9fe-43d8-a8fe-0f72b5675661" providerId="AD" clId="Web-{5080E5A9-A819-BC2E-5F4C-79E153F09B07}" dt="2022-07-14T13:53:03.560" v="4" actId="20577"/>
          <ac:spMkLst>
            <pc:docMk/>
            <pc:sldMk cId="1534853746" sldId="256"/>
            <ac:spMk id="2" creationId="{04E2F5CE-B60C-4FF4-B015-C0DC1B2FE661}"/>
          </ac:spMkLst>
        </pc:spChg>
        <pc:spChg chg="del mod">
          <ac:chgData name="Alexander Beissel" userId="S::alexander@yakha.de::7f761a91-e9fe-43d8-a8fe-0f72b5675661" providerId="AD" clId="Web-{5080E5A9-A819-BC2E-5F4C-79E153F09B07}" dt="2022-07-14T14:01:38.918" v="387"/>
          <ac:spMkLst>
            <pc:docMk/>
            <pc:sldMk cId="1534853746" sldId="256"/>
            <ac:spMk id="3" creationId="{D4662AD7-B021-4EE6-A103-75FEF4E68589}"/>
          </ac:spMkLst>
        </pc:spChg>
      </pc:sldChg>
      <pc:sldChg chg="del">
        <pc:chgData name="Alexander Beissel" userId="S::alexander@yakha.de::7f761a91-e9fe-43d8-a8fe-0f72b5675661" providerId="AD" clId="Web-{5080E5A9-A819-BC2E-5F4C-79E153F09B07}" dt="2022-07-14T13:52:53.982" v="0"/>
        <pc:sldMkLst>
          <pc:docMk/>
          <pc:sldMk cId="742850561" sldId="271"/>
        </pc:sldMkLst>
      </pc:sldChg>
      <pc:sldChg chg="modSp">
        <pc:chgData name="Alexander Beissel" userId="S::alexander@yakha.de::7f761a91-e9fe-43d8-a8fe-0f72b5675661" providerId="AD" clId="Web-{5080E5A9-A819-BC2E-5F4C-79E153F09B07}" dt="2022-07-14T13:59:29.809" v="386"/>
        <pc:sldMkLst>
          <pc:docMk/>
          <pc:sldMk cId="3511378347" sldId="548"/>
        </pc:sldMkLst>
        <pc:spChg chg="mod">
          <ac:chgData name="Alexander Beissel" userId="S::alexander@yakha.de::7f761a91-e9fe-43d8-a8fe-0f72b5675661" providerId="AD" clId="Web-{5080E5A9-A819-BC2E-5F4C-79E153F09B07}" dt="2022-07-14T13:54:40.748" v="97" actId="20577"/>
          <ac:spMkLst>
            <pc:docMk/>
            <pc:sldMk cId="3511378347" sldId="548"/>
            <ac:spMk id="2" creationId="{00000000-0000-0000-0000-000000000000}"/>
          </ac:spMkLst>
        </pc:spChg>
        <pc:graphicFrameChg chg="mod modGraphic">
          <ac:chgData name="Alexander Beissel" userId="S::alexander@yakha.de::7f761a91-e9fe-43d8-a8fe-0f72b5675661" providerId="AD" clId="Web-{5080E5A9-A819-BC2E-5F4C-79E153F09B07}" dt="2022-07-14T13:59:29.809" v="386"/>
          <ac:graphicFrameMkLst>
            <pc:docMk/>
            <pc:sldMk cId="3511378347" sldId="548"/>
            <ac:graphicFrameMk id="8" creationId="{00000000-0000-0000-0000-000000000000}"/>
          </ac:graphicFrameMkLst>
        </pc:graphicFrame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elfoli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A6D65E95-2917-3B46-8A1A-750576C5DED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5A8E"/>
              </a:gs>
              <a:gs pos="50000">
                <a:srgbClr val="0096DC">
                  <a:shade val="67500"/>
                  <a:satMod val="115000"/>
                </a:srgbClr>
              </a:gs>
              <a:gs pos="100000">
                <a:srgbClr val="0096DC">
                  <a:shade val="100000"/>
                  <a:satMod val="115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AA32802-F0E1-964A-94EF-65157EB9AFF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297983" y="2015661"/>
            <a:ext cx="8096811" cy="2325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24499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>
            <a:extLst>
              <a:ext uri="{FF2B5EF4-FFF2-40B4-BE49-F238E27FC236}">
                <a16:creationId xmlns:a16="http://schemas.microsoft.com/office/drawing/2014/main" id="{7DB64268-201D-5D47-BAE6-24A1F2B9E1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sp>
        <p:nvSpPr>
          <p:cNvPr id="9" name="Textplatzhalter 10">
            <a:extLst>
              <a:ext uri="{FF2B5EF4-FFF2-40B4-BE49-F238E27FC236}">
                <a16:creationId xmlns:a16="http://schemas.microsoft.com/office/drawing/2014/main" id="{D67827D9-C0EE-AD40-B350-3B35A2AC134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AEE01E96-D3F3-FE4F-A2ED-D0EB528817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1650" y="1635021"/>
            <a:ext cx="5092288" cy="4274711"/>
          </a:xfrm>
          <a:prstGeom prst="rect">
            <a:avLst/>
          </a:prstGeom>
        </p:spPr>
        <p:txBody>
          <a:bodyPr bIns="72000"/>
          <a:lstStyle>
            <a:lvl1pPr marL="228600" indent="-228600">
              <a:lnSpc>
                <a:spcPct val="100000"/>
              </a:lnSpc>
              <a:buClr>
                <a:schemeClr val="tx1"/>
              </a:buClr>
              <a:buSzPct val="124000"/>
              <a:buFont typeface="Arial" panose="020B0604020202020204" pitchFamily="34" charset="0"/>
              <a:buChar char="•"/>
              <a:defRPr baseline="0">
                <a:latin typeface="Calibri Light" panose="020F0302020204030204" pitchFamily="34" charset="0"/>
              </a:defRPr>
            </a:lvl1pPr>
            <a:lvl2pPr marL="460800" indent="-22860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baseline="0">
                <a:latin typeface="Calibri Light" panose="020F0302020204030204" pitchFamily="34" charset="0"/>
              </a:defRPr>
            </a:lvl2pPr>
            <a:lvl3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3pPr>
            <a:lvl4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4pPr>
            <a:lvl5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FED7C5DB-91B7-4E4D-9895-F3FCCED9D44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88173" y="1635021"/>
            <a:ext cx="5092287" cy="4274711"/>
          </a:xfrm>
          <a:prstGeom prst="rect">
            <a:avLst/>
          </a:prstGeom>
        </p:spPr>
        <p:txBody>
          <a:bodyPr bIns="72000"/>
          <a:lstStyle>
            <a:lvl1pPr marL="228600" indent="-228600">
              <a:lnSpc>
                <a:spcPct val="100000"/>
              </a:lnSpc>
              <a:buClr>
                <a:schemeClr val="tx1"/>
              </a:buClr>
              <a:buSzPct val="124000"/>
              <a:buFont typeface="Arial" panose="020B0604020202020204" pitchFamily="34" charset="0"/>
              <a:buChar char="•"/>
              <a:defRPr baseline="0">
                <a:latin typeface="Calibri Light" panose="020F0302020204030204" pitchFamily="34" charset="0"/>
              </a:defRPr>
            </a:lvl1pPr>
            <a:lvl2pPr marL="460800" indent="-22860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baseline="0">
                <a:latin typeface="Calibri Light" panose="020F0302020204030204" pitchFamily="34" charset="0"/>
              </a:defRPr>
            </a:lvl2pPr>
            <a:lvl3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3pPr>
            <a:lvl4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4pPr>
            <a:lvl5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Textplatzhalter 15">
            <a:extLst>
              <a:ext uri="{FF2B5EF4-FFF2-40B4-BE49-F238E27FC236}">
                <a16:creationId xmlns:a16="http://schemas.microsoft.com/office/drawing/2014/main" id="{22CAF69C-DEF2-DA4B-BD1A-BB9007EC05F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9988550" cy="2588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15" name="Textplatzhalter 15">
            <a:extLst>
              <a:ext uri="{FF2B5EF4-FFF2-40B4-BE49-F238E27FC236}">
                <a16:creationId xmlns:a16="http://schemas.microsoft.com/office/drawing/2014/main" id="{97992F3C-ECE6-684F-9CFC-A25DA70702E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1650" y="6188571"/>
            <a:ext cx="9988550" cy="1629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18E24590-9CE9-5F4B-8D6D-F9C877A76F69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49768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F63F7649-40CD-FA4E-AACA-2CF42D05CA3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5A8E"/>
              </a:gs>
              <a:gs pos="50000">
                <a:srgbClr val="0096DC">
                  <a:shade val="67500"/>
                  <a:satMod val="115000"/>
                </a:srgbClr>
              </a:gs>
              <a:gs pos="100000">
                <a:srgbClr val="0096DC">
                  <a:shade val="100000"/>
                  <a:satMod val="115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FF8DD6EA-6959-144C-B254-09137D49425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9624857" y="276910"/>
            <a:ext cx="2348105" cy="674267"/>
          </a:xfrm>
          <a:prstGeom prst="rect">
            <a:avLst/>
          </a:prstGeom>
        </p:spPr>
      </p:pic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923E9131-8458-5F45-B13A-A56DDEFB60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978150" y="4400549"/>
            <a:ext cx="6235700" cy="711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de-DE" dirty="0"/>
              <a:t>Dies ist ein kurzer Beschreibungstext (optional)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616EDEF0-E6A8-DE47-A4BA-887AAFF4EA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785162"/>
            <a:ext cx="10515600" cy="2478862"/>
          </a:xfrm>
          <a:prstGeom prst="rect">
            <a:avLst/>
          </a:prstGeom>
        </p:spPr>
        <p:txBody>
          <a:bodyPr tIns="72000" anchor="ctr" anchorCtr="0"/>
          <a:lstStyle>
            <a:lvl1pPr algn="ctr">
              <a:lnSpc>
                <a:spcPts val="7400"/>
              </a:lnSpc>
              <a:defRPr sz="7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Dies ist ein</a:t>
            </a:r>
            <a:br>
              <a:rPr lang="de-DE" dirty="0"/>
            </a:br>
            <a:r>
              <a:rPr lang="de-DE" dirty="0"/>
              <a:t>neues Thema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F3722461-FC60-A249-9612-A9F88DD400FC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D422E48-44B6-4A3B-9244-C3A90E749452}" type="datetimeFigureOut">
              <a:rPr lang="de-DE" smtClean="0"/>
              <a:t>06.11.202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912B38AF-CEDC-944C-B940-91D3A9E5D16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21646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10CEABB0-8583-6C42-B88D-E7BBB76B680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9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02E81302-971E-3443-B69E-9E3137CB802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9624857" y="276910"/>
            <a:ext cx="2348105" cy="67426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A448B16-8744-C640-9027-4AFB10F9DD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785162"/>
            <a:ext cx="10515600" cy="2478862"/>
          </a:xfrm>
          <a:prstGeom prst="rect">
            <a:avLst/>
          </a:prstGeom>
        </p:spPr>
        <p:txBody>
          <a:bodyPr tIns="72000" anchor="ctr" anchorCtr="0"/>
          <a:lstStyle>
            <a:lvl1pPr algn="ctr">
              <a:lnSpc>
                <a:spcPts val="7400"/>
              </a:lnSpc>
              <a:defRPr sz="7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Dies ist ein</a:t>
            </a:r>
            <a:br>
              <a:rPr lang="de-DE" dirty="0"/>
            </a:br>
            <a:r>
              <a:rPr lang="de-DE" dirty="0"/>
              <a:t>neues Thema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2FEFC8D-B4C9-9E45-AE8B-E97E74CC864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978150" y="4400549"/>
            <a:ext cx="6235700" cy="711200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de-DE" dirty="0"/>
              <a:t>Dies ist ein kurzer Beschreibungstext (optional)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C17AC851-AB0D-6147-96D8-96CA6266351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D422E48-44B6-4A3B-9244-C3A90E749452}" type="datetimeFigureOut">
              <a:rPr lang="de-DE" smtClean="0"/>
              <a:t>06.11.202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D6F7937C-4058-5348-B32D-C450D3B7437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680160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70CC9E-9861-4AB4-B45D-F2776F40D4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F5F3BBA-B0CA-471C-9308-A2D3B152BC8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F155CC9-EDBB-493F-9D84-399A3BB2C0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422E48-44B6-4A3B-9244-C3A90E749452}" type="datetimeFigureOut">
              <a:rPr lang="de-DE" smtClean="0"/>
              <a:t>06.11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A59A86E-834D-4EF3-BBA3-A24D73DBDB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E5DAB00-312B-4010-BB8D-2222C5F2CA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F0455B-7805-4176-9EFB-640C29DAF25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23267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>
            <a:extLst>
              <a:ext uri="{FF2B5EF4-FFF2-40B4-BE49-F238E27FC236}">
                <a16:creationId xmlns:a16="http://schemas.microsoft.com/office/drawing/2014/main" id="{7DB64268-201D-5D47-BAE6-24A1F2B9E1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sp>
        <p:nvSpPr>
          <p:cNvPr id="9" name="Textplatzhalter 10">
            <a:extLst>
              <a:ext uri="{FF2B5EF4-FFF2-40B4-BE49-F238E27FC236}">
                <a16:creationId xmlns:a16="http://schemas.microsoft.com/office/drawing/2014/main" id="{D67827D9-C0EE-AD40-B350-3B35A2AC134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7" name="Textplatzhalter 15">
            <a:extLst>
              <a:ext uri="{FF2B5EF4-FFF2-40B4-BE49-F238E27FC236}">
                <a16:creationId xmlns:a16="http://schemas.microsoft.com/office/drawing/2014/main" id="{65F952E0-4A2A-0C40-94AC-492F53FB5C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9988550" cy="2588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18" name="Textplatzhalter 15">
            <a:extLst>
              <a:ext uri="{FF2B5EF4-FFF2-40B4-BE49-F238E27FC236}">
                <a16:creationId xmlns:a16="http://schemas.microsoft.com/office/drawing/2014/main" id="{7F705F88-2A77-0B48-A275-33101033192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1650" y="6188571"/>
            <a:ext cx="9988550" cy="1629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F0A1640F-D124-3640-83AA-24D505939D44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55630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54B687F-B5B1-4627-B453-035DB6CAAC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552E365-3AB2-7547-B979-0300EC3E8AB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905FDAD9-AF5D-EB4A-BB95-C3D0BE0369C7}"/>
              </a:ext>
            </a:extLst>
          </p:cNvPr>
          <p:cNvSpPr txBox="1"/>
          <p:nvPr userDrawn="1"/>
        </p:nvSpPr>
        <p:spPr>
          <a:xfrm>
            <a:off x="6451600" y="-10541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endParaRPr lang="de-DE" sz="1800" b="0" i="0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2" name="Textplatzhalter 13">
            <a:extLst>
              <a:ext uri="{FF2B5EF4-FFF2-40B4-BE49-F238E27FC236}">
                <a16:creationId xmlns:a16="http://schemas.microsoft.com/office/drawing/2014/main" id="{2B23FDCB-2D2F-F94A-8ED7-5E00F763DD3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1650" y="1759509"/>
            <a:ext cx="8697913" cy="402272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Clr>
                <a:schemeClr val="tx1"/>
              </a:buClr>
              <a:buSzPct val="124000"/>
              <a:buFontTx/>
              <a:buNone/>
              <a:defRPr baseline="0">
                <a:latin typeface="Calibri Light" panose="020F0302020204030204" pitchFamily="34" charset="0"/>
              </a:defRPr>
            </a:lvl1pPr>
            <a:lvl2pPr marL="460800" indent="-22860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baseline="0">
                <a:latin typeface="Calibri Light" panose="020F0302020204030204" pitchFamily="34" charset="0"/>
              </a:defRPr>
            </a:lvl2pPr>
            <a:lvl3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3pPr>
            <a:lvl4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4pPr>
            <a:lvl5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7D246FE8-7FA8-F54C-8310-33440D9C0A6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24" name="Textplatzhalter 15">
            <a:extLst>
              <a:ext uri="{FF2B5EF4-FFF2-40B4-BE49-F238E27FC236}">
                <a16:creationId xmlns:a16="http://schemas.microsoft.com/office/drawing/2014/main" id="{CF1B0CFB-4189-A141-BFC2-38713A428D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9988550" cy="2588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25" name="Textplatzhalter 15">
            <a:extLst>
              <a:ext uri="{FF2B5EF4-FFF2-40B4-BE49-F238E27FC236}">
                <a16:creationId xmlns:a16="http://schemas.microsoft.com/office/drawing/2014/main" id="{6D6EAA62-9349-4A4D-8B54-D423273D4BF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1650" y="6188571"/>
            <a:ext cx="9988550" cy="1629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27769471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9BB8ECAD-A805-A542-AF5D-AF608B799EE5}"/>
              </a:ext>
            </a:extLst>
          </p:cNvPr>
          <p:cNvSpPr/>
          <p:nvPr userDrawn="1"/>
        </p:nvSpPr>
        <p:spPr>
          <a:xfrm>
            <a:off x="-1" y="1603375"/>
            <a:ext cx="12192001" cy="4337516"/>
          </a:xfrm>
          <a:prstGeom prst="rect">
            <a:avLst/>
          </a:prstGeom>
          <a:solidFill>
            <a:srgbClr val="009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54B687F-B5B1-4627-B453-035DB6CAAC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14" name="Titelplatzhalter 1">
            <a:extLst>
              <a:ext uri="{FF2B5EF4-FFF2-40B4-BE49-F238E27FC236}">
                <a16:creationId xmlns:a16="http://schemas.microsoft.com/office/drawing/2014/main" id="{364E39C8-A0B6-3F4F-AC23-0AF8EB5628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E0FF3278-309F-0C48-9E36-873E4526AB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BC3F003-4162-DD48-A298-0E3ADA618B3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1650" y="1995488"/>
            <a:ext cx="10870395" cy="37480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  <a:lvl2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2pPr>
            <a:lvl3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3pPr>
            <a:lvl4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4pPr>
            <a:lvl5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8C41B20-3833-8F44-BEE1-35F22B46B85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13" name="Textplatzhalter 15">
            <a:extLst>
              <a:ext uri="{FF2B5EF4-FFF2-40B4-BE49-F238E27FC236}">
                <a16:creationId xmlns:a16="http://schemas.microsoft.com/office/drawing/2014/main" id="{29D5BAB6-05B8-4A43-999A-11C1B9BC4C3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9988550" cy="2588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4C12A87F-B94E-3046-B171-65471A49537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1650" y="6188571"/>
            <a:ext cx="9988550" cy="1629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24580335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F8160472-0F90-1445-AF51-52E8D697E1EE}"/>
              </a:ext>
            </a:extLst>
          </p:cNvPr>
          <p:cNvSpPr/>
          <p:nvPr userDrawn="1"/>
        </p:nvSpPr>
        <p:spPr>
          <a:xfrm>
            <a:off x="0" y="1534319"/>
            <a:ext cx="12192000" cy="5323681"/>
          </a:xfrm>
          <a:prstGeom prst="rect">
            <a:avLst/>
          </a:prstGeom>
          <a:gradFill flip="none" rotWithShape="1">
            <a:gsLst>
              <a:gs pos="0">
                <a:srgbClr val="005A8E"/>
              </a:gs>
              <a:gs pos="50000">
                <a:srgbClr val="0096DC">
                  <a:shade val="67500"/>
                  <a:satMod val="115000"/>
                </a:srgbClr>
              </a:gs>
              <a:gs pos="100000">
                <a:srgbClr val="0096DC">
                  <a:shade val="100000"/>
                  <a:satMod val="115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54B687F-B5B1-4627-B453-035DB6CAAC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14" name="Titelplatzhalter 1">
            <a:extLst>
              <a:ext uri="{FF2B5EF4-FFF2-40B4-BE49-F238E27FC236}">
                <a16:creationId xmlns:a16="http://schemas.microsoft.com/office/drawing/2014/main" id="{364E39C8-A0B6-3F4F-AC23-0AF8EB5628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E0FF3278-309F-0C48-9E36-873E4526AB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D95E737-0B3B-844A-8EAB-DA80FEDF6B7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19" name="Textplatzhalter 15">
            <a:extLst>
              <a:ext uri="{FF2B5EF4-FFF2-40B4-BE49-F238E27FC236}">
                <a16:creationId xmlns:a16="http://schemas.microsoft.com/office/drawing/2014/main" id="{FCCA7108-A300-0145-AD93-9D54D9DA41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8294007" cy="20963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20" name="Textplatzhalter 15">
            <a:extLst>
              <a:ext uri="{FF2B5EF4-FFF2-40B4-BE49-F238E27FC236}">
                <a16:creationId xmlns:a16="http://schemas.microsoft.com/office/drawing/2014/main" id="{77F46F98-7A9D-E942-9EE6-34B846AFBB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1650" y="6188571"/>
            <a:ext cx="8294007" cy="131933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32246392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9BB8ECAD-A805-A542-AF5D-AF608B799EE5}"/>
              </a:ext>
            </a:extLst>
          </p:cNvPr>
          <p:cNvSpPr/>
          <p:nvPr userDrawn="1"/>
        </p:nvSpPr>
        <p:spPr>
          <a:xfrm>
            <a:off x="3213100" y="1603375"/>
            <a:ext cx="8978900" cy="4337516"/>
          </a:xfrm>
          <a:prstGeom prst="rect">
            <a:avLst/>
          </a:prstGeom>
          <a:solidFill>
            <a:srgbClr val="009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54B687F-B5B1-4627-B453-035DB6CAAC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14" name="Titelplatzhalter 1">
            <a:extLst>
              <a:ext uri="{FF2B5EF4-FFF2-40B4-BE49-F238E27FC236}">
                <a16:creationId xmlns:a16="http://schemas.microsoft.com/office/drawing/2014/main" id="{EE0D88FC-809B-4848-A564-2D64B44741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6BAFDFD6-3BC2-FA4D-8DAE-D4006F10704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803EBC9D-DE9F-C044-A551-8B08EE1019F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600849"/>
            <a:ext cx="3213100" cy="4337516"/>
          </a:xfrm>
          <a:prstGeom prst="rect">
            <a:avLst/>
          </a:prstGeo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5D89B047-1823-624F-A251-B8052805C6C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08224" y="2176530"/>
            <a:ext cx="7881714" cy="30780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  <a:lvl2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2pPr>
            <a:lvl3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3pPr>
            <a:lvl4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4pPr>
            <a:lvl5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Mastertextformat bearbeiten</a:t>
            </a:r>
          </a:p>
          <a:p>
            <a:pPr marL="0" marR="0" lvl="1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Zweite Ebene</a:t>
            </a:r>
          </a:p>
          <a:p>
            <a:pPr marL="0" marR="0" lvl="2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Dritte Ebene</a:t>
            </a:r>
          </a:p>
          <a:p>
            <a:pPr marL="0" marR="0" lvl="3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Vierte Ebene</a:t>
            </a:r>
          </a:p>
          <a:p>
            <a:pPr marL="0" marR="0" lvl="4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Fünfte Ebene</a:t>
            </a:r>
          </a:p>
        </p:txBody>
      </p:sp>
      <p:sp>
        <p:nvSpPr>
          <p:cNvPr id="20" name="Textplatzhalter 15">
            <a:extLst>
              <a:ext uri="{FF2B5EF4-FFF2-40B4-BE49-F238E27FC236}">
                <a16:creationId xmlns:a16="http://schemas.microsoft.com/office/drawing/2014/main" id="{C7A4F68B-0640-F542-A56C-532F5CD44D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9988550" cy="2588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21" name="Textplatzhalter 15">
            <a:extLst>
              <a:ext uri="{FF2B5EF4-FFF2-40B4-BE49-F238E27FC236}">
                <a16:creationId xmlns:a16="http://schemas.microsoft.com/office/drawing/2014/main" id="{0F8E3E81-E907-3945-8EC9-12089B21B21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188571"/>
            <a:ext cx="9988550" cy="1629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D44BE7E-89EA-C047-9EA8-9381C96D429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27735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2.jpeg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7.xml"/><Relationship Id="rId7" Type="http://schemas.openxmlformats.org/officeDocument/2006/relationships/theme" Target="../theme/theme2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9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8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9A2FA31-69A0-4B45-920A-87D66271ADC9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9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9A2FA31-69A0-4B45-920A-87D66271AD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12138A5-0D46-4AC1-85D1-8EADFE499747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0" i="0" baseline="0">
              <a:latin typeface="Brandon Grotesque Black" panose="020B0A03020203060202" pitchFamily="34" charset="0"/>
              <a:ea typeface="+mj-ea"/>
              <a:cs typeface="+mj-cs"/>
              <a:sym typeface="Brandon Grotesque Black" panose="020B0A03020203060202" pitchFamily="34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16AE9D3-88C5-C042-A2C4-6B0631F89368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C14370C-1C43-424B-BD1E-8020B97A70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02545" y="62159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D5F0455B-7805-4176-9EFB-640C29DAF252}" type="slidenum">
              <a:rPr lang="de-DE" smtClean="0"/>
              <a:t>‹Nr.›</a:t>
            </a:fld>
            <a:endParaRPr lang="de-DE"/>
          </a:p>
        </p:txBody>
      </p:sp>
      <p:sp>
        <p:nvSpPr>
          <p:cNvPr id="21" name="Datumsplatzhalter 20">
            <a:extLst>
              <a:ext uri="{FF2B5EF4-FFF2-40B4-BE49-F238E27FC236}">
                <a16:creationId xmlns:a16="http://schemas.microsoft.com/office/drawing/2014/main" id="{A383551E-751F-D64C-8DB4-F89D745B03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6255" y="6215964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fld id="{4D422E48-44B6-4A3B-9244-C3A90E749452}" type="datetimeFigureOut">
              <a:rPr lang="de-DE" smtClean="0"/>
              <a:t>06.11.2022</a:t>
            </a:fld>
            <a:endParaRPr lang="de-DE"/>
          </a:p>
        </p:txBody>
      </p:sp>
      <p:sp>
        <p:nvSpPr>
          <p:cNvPr id="22" name="Fußzeilenplatzhalter 21">
            <a:extLst>
              <a:ext uri="{FF2B5EF4-FFF2-40B4-BE49-F238E27FC236}">
                <a16:creationId xmlns:a16="http://schemas.microsoft.com/office/drawing/2014/main" id="{30344781-94A4-5F4A-B51E-18287EF7DE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2727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72930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u="none" kern="1200">
          <a:solidFill>
            <a:srgbClr val="333333"/>
          </a:solidFill>
          <a:latin typeface="+mj-lt"/>
          <a:ea typeface="+mj-ea"/>
          <a:cs typeface="+mj-cs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lang="de-DE" sz="1800" kern="1200">
          <a:solidFill>
            <a:srgbClr val="333333"/>
          </a:solidFill>
          <a:latin typeface="+mn-lt"/>
          <a:ea typeface="+mn-ea"/>
          <a:cs typeface="+mn-cs"/>
        </a:defRPr>
      </a:lvl1pPr>
      <a:lvl2pPr marL="460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de-DE" sz="1800" kern="1200" dirty="0">
          <a:solidFill>
            <a:srgbClr val="333333"/>
          </a:solidFill>
          <a:latin typeface="+mn-lt"/>
          <a:ea typeface="+mn-ea"/>
          <a:cs typeface="+mn-cs"/>
        </a:defRPr>
      </a:lvl2pPr>
      <a:lvl3pPr marL="6912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3pPr>
      <a:lvl4pPr marL="9216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4pPr>
      <a:lvl5pPr marL="11520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9A2FA31-69A0-4B45-920A-87D66271ADC9}"/>
              </a:ext>
            </a:extLst>
          </p:cNvPr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3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9A2FA31-69A0-4B45-920A-87D66271AD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12138A5-0D46-4AC1-85D1-8EADFE499747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0" i="0" baseline="0">
              <a:latin typeface="Brandon Grotesque Black" panose="020B0A03020203060202" pitchFamily="34" charset="0"/>
              <a:ea typeface="+mj-ea"/>
              <a:cs typeface="+mj-cs"/>
              <a:sym typeface="Brandon Grotesque Black" panose="020B0A03020203060202" pitchFamily="34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16AE9D3-88C5-C042-A2C4-6B0631F89368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C14370C-1C43-424B-BD1E-8020B97A70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09423" y="621596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aseline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7328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u="none" kern="1200">
          <a:solidFill>
            <a:srgbClr val="333333"/>
          </a:solidFill>
          <a:latin typeface="+mj-lt"/>
          <a:ea typeface="+mj-ea"/>
          <a:cs typeface="+mj-cs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lang="de-DE" sz="1800" kern="1200">
          <a:solidFill>
            <a:srgbClr val="333333"/>
          </a:solidFill>
          <a:latin typeface="+mn-lt"/>
          <a:ea typeface="+mn-ea"/>
          <a:cs typeface="+mn-cs"/>
        </a:defRPr>
      </a:lvl1pPr>
      <a:lvl2pPr marL="460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de-DE" sz="1800" kern="1200" dirty="0">
          <a:solidFill>
            <a:srgbClr val="333333"/>
          </a:solidFill>
          <a:latin typeface="+mn-lt"/>
          <a:ea typeface="+mn-ea"/>
          <a:cs typeface="+mn-cs"/>
        </a:defRPr>
      </a:lvl2pPr>
      <a:lvl3pPr marL="6912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3pPr>
      <a:lvl4pPr marL="9216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4pPr>
      <a:lvl5pPr marL="11520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Sggdhot-MoM" TargetMode="External"/><Relationship Id="rId2" Type="http://schemas.openxmlformats.org/officeDocument/2006/relationships/hyperlink" Target="https://learning.oreilly.com/library/view/beginning-t-sql-a/9781484266069/html/326954_4_En_12_Chapter.xhtml" TargetMode="Externa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56477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4E2F5CE-B60C-4FF4-B015-C0DC1B2FE66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lIns="91440" tIns="45720" rIns="91440" bIns="45720" anchor="b"/>
          <a:lstStyle/>
          <a:p>
            <a:r>
              <a:rPr lang="de-DE" dirty="0"/>
              <a:t>Module </a:t>
            </a:r>
            <a:r>
              <a:rPr lang="de-DE" dirty="0" smtClean="0"/>
              <a:t>8: </a:t>
            </a:r>
            <a:br>
              <a:rPr lang="de-DE" dirty="0" smtClean="0"/>
            </a:br>
            <a:r>
              <a:rPr lang="de-DE" dirty="0" smtClean="0"/>
              <a:t>Transact SQL Day </a:t>
            </a:r>
            <a:r>
              <a:rPr lang="de-DE" dirty="0"/>
              <a:t>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348537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 </a:t>
            </a:r>
            <a:r>
              <a:rPr lang="de-DE" dirty="0" smtClean="0"/>
              <a:t>07.11.2022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 smtClean="0"/>
              <a:pPr/>
              <a:t>3</a:t>
            </a:fld>
            <a:endParaRPr lang="de-DE"/>
          </a:p>
        </p:txBody>
      </p:sp>
      <p:graphicFrame>
        <p:nvGraphicFramePr>
          <p:cNvPr id="8" name="Inhaltsplatzhalt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61986053"/>
              </p:ext>
            </p:extLst>
          </p:nvPr>
        </p:nvGraphicFramePr>
        <p:xfrm>
          <a:off x="453269" y="1731419"/>
          <a:ext cx="9840836" cy="38849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1124">
                  <a:extLst>
                    <a:ext uri="{9D8B030D-6E8A-4147-A177-3AD203B41FA5}">
                      <a16:colId xmlns:a16="http://schemas.microsoft.com/office/drawing/2014/main" val="2130158455"/>
                    </a:ext>
                  </a:extLst>
                </a:gridCol>
                <a:gridCol w="1329203">
                  <a:extLst>
                    <a:ext uri="{9D8B030D-6E8A-4147-A177-3AD203B41FA5}">
                      <a16:colId xmlns:a16="http://schemas.microsoft.com/office/drawing/2014/main" val="777016462"/>
                    </a:ext>
                  </a:extLst>
                </a:gridCol>
                <a:gridCol w="7510509">
                  <a:extLst>
                    <a:ext uri="{9D8B030D-6E8A-4147-A177-3AD203B41FA5}">
                      <a16:colId xmlns:a16="http://schemas.microsoft.com/office/drawing/2014/main" val="2836417322"/>
                    </a:ext>
                  </a:extLst>
                </a:gridCol>
              </a:tblGrid>
              <a:tr h="414642">
                <a:tc>
                  <a:txBody>
                    <a:bodyPr/>
                    <a:lstStyle/>
                    <a:p>
                      <a:pPr algn="ctr"/>
                      <a:r>
                        <a:rPr lang="de-DE" sz="2000" b="0" cap="small" baseline="0" dirty="0" err="1">
                          <a:latin typeface="+mj-lt"/>
                        </a:rPr>
                        <a:t>from</a:t>
                      </a:r>
                      <a:endParaRPr lang="de-DE" sz="2000" b="0" cap="small" baseline="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b="0" cap="small" baseline="0" dirty="0" err="1">
                          <a:latin typeface="+mj-lt"/>
                        </a:rPr>
                        <a:t>to</a:t>
                      </a:r>
                      <a:endParaRPr lang="de-DE" sz="2000" b="0" cap="small" baseline="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b="0" cap="small" baseline="0" dirty="0" err="1">
                          <a:latin typeface="+mj-lt"/>
                        </a:rPr>
                        <a:t>topic</a:t>
                      </a:r>
                      <a:endParaRPr lang="de-DE" sz="2000" b="0" cap="small" baseline="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9548296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9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9: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>
                          <a:latin typeface="+mn-lt"/>
                        </a:rPr>
                        <a:t>Introduction</a:t>
                      </a:r>
                      <a:endParaRPr lang="de-DE" sz="16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09906806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9: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2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>
                          <a:latin typeface="+mn-lt"/>
                        </a:rPr>
                        <a:t>Self</a:t>
                      </a:r>
                      <a:r>
                        <a:rPr lang="de-DE" sz="1600" dirty="0">
                          <a:latin typeface="+mn-lt"/>
                        </a:rPr>
                        <a:t> Study Blo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0318453"/>
                  </a:ext>
                </a:extLst>
              </a:tr>
              <a:tr h="413025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~10:30</a:t>
                      </a:r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~10:45</a:t>
                      </a:r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Coffee break 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1043211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2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2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>
                          <a:latin typeface="+mn-lt"/>
                        </a:rPr>
                        <a:t>Discussion</a:t>
                      </a:r>
                      <a:r>
                        <a:rPr lang="de-DE" sz="1600" dirty="0">
                          <a:latin typeface="+mn-lt"/>
                        </a:rPr>
                        <a:t> Block: </a:t>
                      </a:r>
                      <a:r>
                        <a:rPr lang="de-DE" sz="1600" dirty="0" err="1">
                          <a:latin typeface="+mn-lt"/>
                        </a:rPr>
                        <a:t>Self</a:t>
                      </a:r>
                      <a:r>
                        <a:rPr lang="de-DE" sz="1600" dirty="0">
                          <a:latin typeface="+mn-lt"/>
                        </a:rPr>
                        <a:t> Study Sess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4288920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2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~13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latin typeface="+mn-lt"/>
                        </a:rPr>
                        <a:t>Lunch Break</a:t>
                      </a:r>
                    </a:p>
                    <a:p>
                      <a:endParaRPr lang="de-DE" sz="16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56751719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3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13:30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latin typeface="+mn-lt"/>
                        </a:rPr>
                        <a:t>Content Questions</a:t>
                      </a:r>
                      <a:endParaRPr lang="de-DE" sz="1600" dirty="0" err="1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7951198"/>
                  </a:ext>
                </a:extLst>
              </a:tr>
              <a:tr h="413025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13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16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e-DE" sz="1600" dirty="0" err="1">
                          <a:latin typeface="+mn-lt"/>
                        </a:rPr>
                        <a:t>Excecise</a:t>
                      </a:r>
                      <a:r>
                        <a:rPr lang="de-DE" sz="1600" dirty="0">
                          <a:latin typeface="+mn-lt"/>
                        </a:rPr>
                        <a:t> Blo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8846305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6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7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e-DE" sz="1600" dirty="0" err="1">
                          <a:latin typeface="+mn-lt"/>
                        </a:rPr>
                        <a:t>Discussion</a:t>
                      </a:r>
                      <a:r>
                        <a:rPr lang="de-DE" sz="1600" dirty="0">
                          <a:latin typeface="+mn-lt"/>
                        </a:rPr>
                        <a:t> Block : </a:t>
                      </a:r>
                      <a:r>
                        <a:rPr lang="de-DE" sz="1600" dirty="0" err="1">
                          <a:latin typeface="+mn-lt"/>
                        </a:rPr>
                        <a:t>Excerci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06289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113783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Introduction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Transact SQL</a:t>
            </a:r>
            <a:endParaRPr lang="en-IN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T-SQL stands for Transact Structure Query Language which is a Microsoft product and is an extension of SQL </a:t>
            </a:r>
            <a:r>
              <a:rPr lang="en-IN" dirty="0" smtClean="0"/>
              <a:t>Languag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T-SQL (Transact-SQL) is a set of programming extensions from Sybase and Microsoft that add several features to the Structured Query Language (SQL), including transaction control, exception and error handling, row processing and declared variables.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570549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terial</a:t>
            </a:r>
            <a:endParaRPr lang="en-IN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IN" dirty="0" smtClean="0"/>
              <a:t>Go </a:t>
            </a:r>
            <a:r>
              <a:rPr lang="en-IN" dirty="0"/>
              <a:t>through the below training </a:t>
            </a:r>
            <a:r>
              <a:rPr lang="en-IN" dirty="0" smtClean="0"/>
              <a:t>material- Chapter </a:t>
            </a:r>
            <a:r>
              <a:rPr lang="en-IN" dirty="0" smtClean="0"/>
              <a:t>12-</a:t>
            </a:r>
            <a:r>
              <a:rPr lang="en-IN" dirty="0" smtClean="0"/>
              <a:t>14:</a:t>
            </a:r>
            <a:endParaRPr lang="en-IN" dirty="0"/>
          </a:p>
          <a:p>
            <a:r>
              <a:rPr lang="en-IN" dirty="0">
                <a:hlinkClick r:id="rId2"/>
              </a:rPr>
              <a:t>https://</a:t>
            </a:r>
            <a:r>
              <a:rPr lang="en-IN" dirty="0" smtClean="0">
                <a:hlinkClick r:id="rId2"/>
              </a:rPr>
              <a:t>learning.oreilly.com/library/view/beginning-t-sql-a/9781484266069/html/326954_4_En_12_Chapter.xhtml</a:t>
            </a:r>
            <a:endParaRPr lang="en-IN" dirty="0" smtClean="0"/>
          </a:p>
          <a:p>
            <a:r>
              <a:rPr lang="de-DE" dirty="0" smtClean="0"/>
              <a:t>Go </a:t>
            </a:r>
            <a:r>
              <a:rPr lang="de-DE" dirty="0" err="1" smtClean="0"/>
              <a:t>through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below</a:t>
            </a:r>
            <a:r>
              <a:rPr lang="de-DE" dirty="0" smtClean="0"/>
              <a:t> </a:t>
            </a:r>
            <a:r>
              <a:rPr lang="de-DE" dirty="0" err="1" smtClean="0"/>
              <a:t>youtube</a:t>
            </a:r>
            <a:r>
              <a:rPr lang="de-DE" dirty="0" smtClean="0"/>
              <a:t> </a:t>
            </a:r>
            <a:r>
              <a:rPr lang="de-DE" dirty="0" err="1" smtClean="0"/>
              <a:t>tutorial</a:t>
            </a:r>
            <a:r>
              <a:rPr lang="de-DE" dirty="0" smtClean="0"/>
              <a:t>:</a:t>
            </a:r>
          </a:p>
          <a:p>
            <a:r>
              <a:rPr lang="de-DE" dirty="0">
                <a:hlinkClick r:id="rId3"/>
              </a:rPr>
              <a:t>https://</a:t>
            </a:r>
            <a:r>
              <a:rPr lang="de-DE" dirty="0" smtClean="0">
                <a:hlinkClick r:id="rId3"/>
              </a:rPr>
              <a:t>www.youtube.com/watch?v=Sggdhot-MoM</a:t>
            </a:r>
            <a:endParaRPr lang="de-DE" dirty="0" smtClean="0"/>
          </a:p>
          <a:p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813877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Questions</a:t>
            </a:r>
            <a:endParaRPr lang="en-IN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IN" dirty="0"/>
              <a:t>E</a:t>
            </a:r>
            <a:r>
              <a:rPr lang="en-IN" dirty="0" smtClean="0"/>
              <a:t>xplain </a:t>
            </a:r>
            <a:r>
              <a:rPr lang="en-IN" dirty="0"/>
              <a:t>the benefits of using stored procedures in a database</a:t>
            </a:r>
            <a:r>
              <a:rPr lang="en-IN" dirty="0" smtClean="0"/>
              <a:t>?</a:t>
            </a:r>
          </a:p>
          <a:p>
            <a:pPr marL="342900" indent="-342900">
              <a:buFont typeface="+mj-lt"/>
              <a:buAutoNum type="arabicPeriod"/>
            </a:pPr>
            <a:r>
              <a:rPr lang="en-IN" dirty="0"/>
              <a:t>How can you update information in a table using a stored procedure?</a:t>
            </a:r>
          </a:p>
          <a:p>
            <a:pPr marL="342900" indent="-342900">
              <a:buFont typeface="+mj-lt"/>
              <a:buAutoNum type="arabicPeriod"/>
            </a:pPr>
            <a:r>
              <a:rPr lang="en-IN" dirty="0"/>
              <a:t>What’s the difference between executing a query and calling a stored procedure?</a:t>
            </a:r>
          </a:p>
          <a:p>
            <a:pPr marL="342900" indent="-342900">
              <a:buFont typeface="+mj-lt"/>
              <a:buAutoNum type="arabicPeriod"/>
            </a:pPr>
            <a:r>
              <a:rPr lang="en-IN" dirty="0"/>
              <a:t>E</a:t>
            </a:r>
            <a:r>
              <a:rPr lang="en-IN" dirty="0" smtClean="0"/>
              <a:t>xplain </a:t>
            </a:r>
            <a:r>
              <a:rPr lang="en-IN" dirty="0"/>
              <a:t>what cursors are and why should we avoid using them in stored procedures</a:t>
            </a:r>
            <a:r>
              <a:rPr lang="en-IN" dirty="0" smtClean="0"/>
              <a:t>?</a:t>
            </a:r>
          </a:p>
          <a:p>
            <a:pPr marL="342900" indent="-342900">
              <a:buFont typeface="+mj-lt"/>
              <a:buAutoNum type="arabicPeriod"/>
            </a:pPr>
            <a:r>
              <a:rPr lang="en-IN" dirty="0" smtClean="0"/>
              <a:t>What are some </a:t>
            </a:r>
            <a:r>
              <a:rPr lang="en-IN" dirty="0"/>
              <a:t>system functions available in SQL Server</a:t>
            </a:r>
            <a:r>
              <a:rPr lang="en-IN" dirty="0" smtClean="0"/>
              <a:t>?</a:t>
            </a:r>
          </a:p>
          <a:p>
            <a:pPr marL="342900" indent="-342900">
              <a:buFont typeface="+mj-lt"/>
              <a:buAutoNum type="arabicPeriod"/>
            </a:pPr>
            <a:r>
              <a:rPr lang="en-IN" dirty="0"/>
              <a:t>What does @name stand for in the context of stored procedures in SQL Server?</a:t>
            </a:r>
          </a:p>
          <a:p>
            <a:pPr marL="342900" indent="-342900">
              <a:buFont typeface="+mj-lt"/>
              <a:buAutoNum type="arabicPeriod"/>
            </a:pPr>
            <a:r>
              <a:rPr lang="en-IN" dirty="0" smtClean="0"/>
              <a:t>What are the various </a:t>
            </a:r>
            <a:r>
              <a:rPr lang="en-IN" dirty="0"/>
              <a:t>types of SQL Server transactions </a:t>
            </a:r>
            <a:r>
              <a:rPr lang="en-IN" dirty="0" smtClean="0"/>
              <a:t>modes?</a:t>
            </a:r>
          </a:p>
          <a:p>
            <a:pPr marL="342900" indent="-342900">
              <a:buFont typeface="+mj-lt"/>
              <a:buAutoNum type="arabicPeriod"/>
            </a:pPr>
            <a:r>
              <a:rPr lang="en-IN" dirty="0"/>
              <a:t>What is the need for the COMMIT command in SQL Server</a:t>
            </a:r>
            <a:r>
              <a:rPr lang="en-IN" dirty="0" smtClean="0"/>
              <a:t>?</a:t>
            </a:r>
          </a:p>
          <a:p>
            <a:pPr marL="342900" indent="-342900">
              <a:buFont typeface="+mj-lt"/>
              <a:buAutoNum type="arabicPeriod"/>
            </a:pPr>
            <a:r>
              <a:rPr lang="en-IN" dirty="0"/>
              <a:t>What is the need for the ROLLBACK command in SQL Server?</a:t>
            </a:r>
          </a:p>
          <a:p>
            <a:pPr marL="342900" indent="-342900">
              <a:buFont typeface="+mj-lt"/>
              <a:buAutoNum type="arabicPeriod"/>
            </a:pPr>
            <a:endParaRPr lang="en-IN" dirty="0"/>
          </a:p>
          <a:p>
            <a:pPr marL="342900" indent="-342900">
              <a:buFont typeface="+mj-lt"/>
              <a:buAutoNum type="arabicPeriod"/>
            </a:pPr>
            <a:endParaRPr lang="en-IN" dirty="0"/>
          </a:p>
          <a:p>
            <a:endParaRPr lang="en-IN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952525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9264FB8A-B32F-4C9B-B210-588EA08E44F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Dein </a:t>
            </a:r>
            <a:r>
              <a:rPr lang="de-DE" dirty="0" err="1"/>
              <a:t>yakha</a:t>
            </a:r>
            <a:r>
              <a:rPr lang="de-DE" dirty="0"/>
              <a:t> Team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4C5981A-FCDD-477D-8F05-28CFE48822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Good</a:t>
            </a:r>
            <a:r>
              <a:rPr lang="de-DE" dirty="0"/>
              <a:t> </a:t>
            </a:r>
            <a:r>
              <a:rPr lang="de-DE" dirty="0" err="1"/>
              <a:t>luck</a:t>
            </a:r>
            <a:r>
              <a:rPr lang="de-DE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34121424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AqQEep3JCg64feuZZi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AqQEep3JCg64feuZZiw"/>
</p:tagLst>
</file>

<file path=ppt/theme/theme1.xml><?xml version="1.0" encoding="utf-8"?>
<a:theme xmlns:a="http://schemas.openxmlformats.org/drawingml/2006/main" name="1_Titelfolie">
  <a:themeElements>
    <a:clrScheme name="Benutzerdefiniert 1">
      <a:dk1>
        <a:srgbClr val="0095DB"/>
      </a:dk1>
      <a:lt1>
        <a:srgbClr val="FFFFFF"/>
      </a:lt1>
      <a:dk2>
        <a:srgbClr val="005A8E"/>
      </a:dk2>
      <a:lt2>
        <a:srgbClr val="FFFFFF"/>
      </a:lt2>
      <a:accent1>
        <a:srgbClr val="0095DB"/>
      </a:accent1>
      <a:accent2>
        <a:srgbClr val="0ABEF0"/>
      </a:accent2>
      <a:accent3>
        <a:srgbClr val="FFCD00"/>
      </a:accent3>
      <a:accent4>
        <a:srgbClr val="00598E"/>
      </a:accent4>
      <a:accent5>
        <a:srgbClr val="FEFFFF"/>
      </a:accent5>
      <a:accent6>
        <a:srgbClr val="0095BD"/>
      </a:accent6>
      <a:hlink>
        <a:srgbClr val="FFCC00"/>
      </a:hlink>
      <a:folHlink>
        <a:srgbClr val="0095BD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800" b="0" i="0" dirty="0">
            <a:solidFill>
              <a:srgbClr val="000000"/>
            </a:solidFill>
            <a:latin typeface="Calibri Light" panose="020F0302020204030204" pitchFamily="34" charset="0"/>
            <a:cs typeface="Calibri Light" panose="020F03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yakha.potx" id="{7F2B49C6-9713-834B-9335-74FEB09D5C81}" vid="{697400BD-1189-BD40-BD69-8458CC5C0ADA}"/>
    </a:ext>
  </a:extLst>
</a:theme>
</file>

<file path=ppt/theme/theme2.xml><?xml version="1.0" encoding="utf-8"?>
<a:theme xmlns:a="http://schemas.openxmlformats.org/drawingml/2006/main" name="2_Content">
  <a:themeElements>
    <a:clrScheme name="Benutzerdefiniert 1">
      <a:dk1>
        <a:srgbClr val="0095DB"/>
      </a:dk1>
      <a:lt1>
        <a:srgbClr val="FFFFFF"/>
      </a:lt1>
      <a:dk2>
        <a:srgbClr val="005A8E"/>
      </a:dk2>
      <a:lt2>
        <a:srgbClr val="FFFFFF"/>
      </a:lt2>
      <a:accent1>
        <a:srgbClr val="0095DB"/>
      </a:accent1>
      <a:accent2>
        <a:srgbClr val="0ABEF0"/>
      </a:accent2>
      <a:accent3>
        <a:srgbClr val="FFCD00"/>
      </a:accent3>
      <a:accent4>
        <a:srgbClr val="00598E"/>
      </a:accent4>
      <a:accent5>
        <a:srgbClr val="FEFFFF"/>
      </a:accent5>
      <a:accent6>
        <a:srgbClr val="0095BD"/>
      </a:accent6>
      <a:hlink>
        <a:srgbClr val="FFCC00"/>
      </a:hlink>
      <a:folHlink>
        <a:srgbClr val="0095BD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800" b="0" i="0" dirty="0">
            <a:solidFill>
              <a:srgbClr val="000000"/>
            </a:solidFill>
            <a:latin typeface="Calibri Light" panose="020F0302020204030204" pitchFamily="34" charset="0"/>
            <a:cs typeface="Calibri Light" panose="020F03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yakha.potx" id="{7F2B49C6-9713-834B-9335-74FEB09D5C81}" vid="{E2B0A2F4-DF1A-0E49-80AC-D240EFF47E6D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9db25a6b-c331-498f-ac02-98ce6d560a92">
      <UserInfo>
        <DisplayName>Mannoor Dhingra</DisplayName>
        <AccountId>96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11CE87F7706DD48AC70C1EDA7E5CF83" ma:contentTypeVersion="9" ma:contentTypeDescription="Create a new document." ma:contentTypeScope="" ma:versionID="f32b151c2b56e513f0b65072b1b15cc7">
  <xsd:schema xmlns:xsd="http://www.w3.org/2001/XMLSchema" xmlns:xs="http://www.w3.org/2001/XMLSchema" xmlns:p="http://schemas.microsoft.com/office/2006/metadata/properties" xmlns:ns3="2f4d8767-48e3-420d-8739-60f2e2a55fa7" xmlns:ns4="9db25a6b-c331-498f-ac02-98ce6d560a92" targetNamespace="http://schemas.microsoft.com/office/2006/metadata/properties" ma:root="true" ma:fieldsID="7a3fee368aecc65d11576a1b8738721e" ns3:_="" ns4:_="">
    <xsd:import namespace="2f4d8767-48e3-420d-8739-60f2e2a55fa7"/>
    <xsd:import namespace="9db25a6b-c331-498f-ac02-98ce6d560a92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4d8767-48e3-420d-8739-60f2e2a55fa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b25a6b-c331-498f-ac02-98ce6d560a92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7968C43-48D2-47B2-884B-9CA0EE399ADE}">
  <ds:schemaRefs>
    <ds:schemaRef ds:uri="http://schemas.microsoft.com/office/2006/documentManagement/types"/>
    <ds:schemaRef ds:uri="http://purl.org/dc/dcmitype/"/>
    <ds:schemaRef ds:uri="9db25a6b-c331-498f-ac02-98ce6d560a92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2f4d8767-48e3-420d-8739-60f2e2a55fa7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1033BBCE-D99C-4C38-9DF9-5530C8C378C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f4d8767-48e3-420d-8739-60f2e2a55fa7"/>
    <ds:schemaRef ds:uri="9db25a6b-c331-498f-ac02-98ce6d560a9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F6C0CB0-91AA-4B64-A684-2BFC59638F6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yakha</Template>
  <TotalTime>0</TotalTime>
  <Words>269</Words>
  <Application>Microsoft Office PowerPoint</Application>
  <PresentationFormat>Breitbild</PresentationFormat>
  <Paragraphs>54</Paragraphs>
  <Slides>7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6" baseType="lpstr">
      <vt:lpstr>Arial</vt:lpstr>
      <vt:lpstr>Brandon Grotesque Black</vt:lpstr>
      <vt:lpstr>Calibri</vt:lpstr>
      <vt:lpstr>Calibri Light</vt:lpstr>
      <vt:lpstr>Symbol</vt:lpstr>
      <vt:lpstr>Wingdings</vt:lpstr>
      <vt:lpstr>1_Titelfolie</vt:lpstr>
      <vt:lpstr>2_Content</vt:lpstr>
      <vt:lpstr>think-cell Slide</vt:lpstr>
      <vt:lpstr>PowerPoint-Präsentation</vt:lpstr>
      <vt:lpstr>Module 8:  Transact SQL Day 3</vt:lpstr>
      <vt:lpstr>Agenda 07.11.2022</vt:lpstr>
      <vt:lpstr>Introduction to Transact SQL</vt:lpstr>
      <vt:lpstr>Material</vt:lpstr>
      <vt:lpstr>Questions</vt:lpstr>
      <vt:lpstr>Good luck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chelle  Werth</dc:creator>
  <cp:lastModifiedBy>Mannoor Dhingra</cp:lastModifiedBy>
  <cp:revision>78</cp:revision>
  <dcterms:created xsi:type="dcterms:W3CDTF">2022-02-14T14:16:18Z</dcterms:created>
  <dcterms:modified xsi:type="dcterms:W3CDTF">2022-11-07T07:53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11CE87F7706DD48AC70C1EDA7E5CF83</vt:lpwstr>
  </property>
  <property fmtid="{D5CDD505-2E9C-101B-9397-08002B2CF9AE}" pid="3" name="MediaServiceImageTags">
    <vt:lpwstr/>
  </property>
</Properties>
</file>